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83289" autoAdjust="0"/>
  </p:normalViewPr>
  <p:slideViewPr>
    <p:cSldViewPr snapToGrid="0">
      <p:cViewPr varScale="1">
        <p:scale>
          <a:sx n="97" d="100"/>
          <a:sy n="97" d="100"/>
        </p:scale>
        <p:origin x="86" y="1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After </a:t>
            </a:r>
            <a:r>
              <a:rPr lang="de-CH" dirty="0" err="1"/>
              <a:t>proces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tor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ist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Such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onc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oing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595572"/>
            <a:ext cx="51996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1600" dirty="0"/>
              <a:t>Pluvia è una parola latina che significa piogg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=&gt;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5456484" y="3243397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18233" y="2710071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de-CH" sz="1800" dirty="0"/>
          </a:p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n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f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/>
              <a:t>https://arxiv.org/abs/2303.16634</a:t>
            </a:r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8</Words>
  <Application>Microsoft Office PowerPoint</Application>
  <PresentationFormat>Widescreen</PresentationFormat>
  <Paragraphs>631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88</cp:revision>
  <dcterms:created xsi:type="dcterms:W3CDTF">2019-10-15T07:31:09Z</dcterms:created>
  <dcterms:modified xsi:type="dcterms:W3CDTF">2024-08-31T15:36:36Z</dcterms:modified>
</cp:coreProperties>
</file>